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3" r:id="rId2"/>
  </p:sldIdLst>
  <p:sldSz cx="7556500" cy="10693400"/>
  <p:notesSz cx="6858000" cy="9144000"/>
  <p:embeddedFontLst>
    <p:embeddedFont>
      <p:font typeface="Butcherman" panose="02000000000000000000" pitchFamily="2" charset="0"/>
      <p:regular r:id="rId3"/>
    </p:embeddedFont>
    <p:embeddedFont>
      <p:font typeface="Lacquer" pitchFamily="2" charset="0"/>
      <p:regular r:id="rId4"/>
    </p:embeddedFont>
    <p:embeddedFont>
      <p:font typeface="Mansalva" pitchFamily="2" charset="0"/>
      <p:regular r:id="rId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4E1D"/>
    <a:srgbClr val="EAC2A3"/>
    <a:srgbClr val="440934"/>
    <a:srgbClr val="111111"/>
    <a:srgbClr val="226055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 varScale="1">
        <p:scale>
          <a:sx n="52" d="100"/>
          <a:sy n="52" d="100"/>
        </p:scale>
        <p:origin x="2597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font" Target="fonts/font3.fntdata"/><Relationship Id="rId4" Type="http://schemas.openxmlformats.org/officeDocument/2006/relationships/font" Target="fonts/font2.fntdata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svg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09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Halloween Potluck #3">
            <a:extLst>
              <a:ext uri="{FF2B5EF4-FFF2-40B4-BE49-F238E27FC236}">
                <a16:creationId xmlns:a16="http://schemas.microsoft.com/office/drawing/2014/main" id="{1661D6BA-8E46-4257-BB39-AECF7AAAE351}"/>
              </a:ext>
            </a:extLst>
          </p:cNvPr>
          <p:cNvGrpSpPr/>
          <p:nvPr/>
        </p:nvGrpSpPr>
        <p:grpSpPr>
          <a:xfrm>
            <a:off x="-2585304" y="-2396838"/>
            <a:ext cx="12731410" cy="14082474"/>
            <a:chOff x="-2585304" y="-2396838"/>
            <a:chExt cx="12731410" cy="14082474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DBC583E9-87E1-5D3D-AE59-2C12FEC96E84}"/>
                </a:ext>
              </a:extLst>
            </p:cNvPr>
            <p:cNvGrpSpPr/>
            <p:nvPr/>
          </p:nvGrpSpPr>
          <p:grpSpPr>
            <a:xfrm>
              <a:off x="-2585304" y="-2396838"/>
              <a:ext cx="12731410" cy="14082474"/>
              <a:chOff x="-2585304" y="-2396838"/>
              <a:chExt cx="12731410" cy="14082474"/>
            </a:xfrm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478C6124-C849-05BE-A261-83BCD92191C6}"/>
                  </a:ext>
                </a:extLst>
              </p:cNvPr>
              <p:cNvSpPr/>
              <p:nvPr/>
            </p:nvSpPr>
            <p:spPr>
              <a:xfrm rot="481247">
                <a:off x="-2585304" y="-2396838"/>
                <a:ext cx="5254573" cy="5202029"/>
              </a:xfrm>
              <a:custGeom>
                <a:avLst/>
                <a:gdLst>
                  <a:gd name="connsiteX0" fmla="*/ 0 w 5254573"/>
                  <a:gd name="connsiteY0" fmla="*/ 3019894 h 5202029"/>
                  <a:gd name="connsiteX1" fmla="*/ 307486 w 5254573"/>
                  <a:gd name="connsiteY1" fmla="*/ 5202029 h 5202029"/>
                  <a:gd name="connsiteX2" fmla="*/ 0 w 5254573"/>
                  <a:gd name="connsiteY2" fmla="*/ 5202029 h 5202029"/>
                  <a:gd name="connsiteX3" fmla="*/ 4417946 w 5254573"/>
                  <a:gd name="connsiteY3" fmla="*/ 0 h 5202029"/>
                  <a:gd name="connsiteX4" fmla="*/ 5254573 w 5254573"/>
                  <a:gd name="connsiteY4" fmla="*/ 0 h 5202029"/>
                  <a:gd name="connsiteX5" fmla="*/ 5254573 w 5254573"/>
                  <a:gd name="connsiteY5" fmla="*/ 5202029 h 5202029"/>
                  <a:gd name="connsiteX6" fmla="*/ 2129161 w 5254573"/>
                  <a:gd name="connsiteY6" fmla="*/ 5202029 h 5202029"/>
                  <a:gd name="connsiteX7" fmla="*/ 2935391 w 5254573"/>
                  <a:gd name="connsiteY7" fmla="*/ 5088422 h 5202029"/>
                  <a:gd name="connsiteX8" fmla="*/ 2557225 w 5254573"/>
                  <a:gd name="connsiteY8" fmla="*/ 2404693 h 5202029"/>
                  <a:gd name="connsiteX9" fmla="*/ 4713969 w 5254573"/>
                  <a:gd name="connsiteY9" fmla="*/ 2100785 h 5202029"/>
                  <a:gd name="connsiteX10" fmla="*/ 0 w 5254573"/>
                  <a:gd name="connsiteY10" fmla="*/ 0 h 5202029"/>
                  <a:gd name="connsiteX11" fmla="*/ 2626876 w 5254573"/>
                  <a:gd name="connsiteY11" fmla="*/ 0 h 5202029"/>
                  <a:gd name="connsiteX12" fmla="*/ 2226331 w 5254573"/>
                  <a:gd name="connsiteY12" fmla="*/ 56441 h 5202029"/>
                  <a:gd name="connsiteX13" fmla="*/ 2119438 w 5254573"/>
                  <a:gd name="connsiteY13" fmla="*/ 71503 h 5202029"/>
                  <a:gd name="connsiteX14" fmla="*/ 0 w 5254573"/>
                  <a:gd name="connsiteY14" fmla="*/ 370155 h 5202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54573" h="5202029">
                    <a:moveTo>
                      <a:pt x="0" y="3019894"/>
                    </a:moveTo>
                    <a:lnTo>
                      <a:pt x="307486" y="5202029"/>
                    </a:lnTo>
                    <a:lnTo>
                      <a:pt x="0" y="5202029"/>
                    </a:lnTo>
                    <a:close/>
                    <a:moveTo>
                      <a:pt x="4417946" y="0"/>
                    </a:moveTo>
                    <a:lnTo>
                      <a:pt x="5254573" y="0"/>
                    </a:lnTo>
                    <a:lnTo>
                      <a:pt x="5254573" y="5202029"/>
                    </a:lnTo>
                    <a:lnTo>
                      <a:pt x="2129161" y="5202029"/>
                    </a:lnTo>
                    <a:lnTo>
                      <a:pt x="2935391" y="5088422"/>
                    </a:lnTo>
                    <a:lnTo>
                      <a:pt x="2557225" y="2404693"/>
                    </a:lnTo>
                    <a:lnTo>
                      <a:pt x="4713969" y="2100785"/>
                    </a:lnTo>
                    <a:close/>
                    <a:moveTo>
                      <a:pt x="0" y="0"/>
                    </a:moveTo>
                    <a:lnTo>
                      <a:pt x="2626876" y="0"/>
                    </a:lnTo>
                    <a:lnTo>
                      <a:pt x="2226331" y="56441"/>
                    </a:lnTo>
                    <a:lnTo>
                      <a:pt x="2119438" y="71503"/>
                    </a:lnTo>
                    <a:lnTo>
                      <a:pt x="0" y="370155"/>
                    </a:lnTo>
                    <a:close/>
                  </a:path>
                </a:pathLst>
              </a:custGeom>
              <a:blipFill>
                <a:blip r:embed="rId3">
                  <a:alphaModFix amt="9499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E424E6C7-9745-581E-3BBE-1217963ED531}"/>
                  </a:ext>
                </a:extLst>
              </p:cNvPr>
              <p:cNvSpPr/>
              <p:nvPr/>
            </p:nvSpPr>
            <p:spPr>
              <a:xfrm rot="21120000" flipH="1">
                <a:off x="4891533" y="-2396838"/>
                <a:ext cx="5254573" cy="5202028"/>
              </a:xfrm>
              <a:custGeom>
                <a:avLst/>
                <a:gdLst>
                  <a:gd name="connsiteX0" fmla="*/ 0 w 5254573"/>
                  <a:gd name="connsiteY0" fmla="*/ 3568962 h 5202028"/>
                  <a:gd name="connsiteX1" fmla="*/ 0 w 5254573"/>
                  <a:gd name="connsiteY1" fmla="*/ 5202028 h 5202028"/>
                  <a:gd name="connsiteX2" fmla="*/ 229512 w 5254573"/>
                  <a:gd name="connsiteY2" fmla="*/ 5202028 h 5202028"/>
                  <a:gd name="connsiteX3" fmla="*/ 4346193 w 5254573"/>
                  <a:gd name="connsiteY3" fmla="*/ 0 h 5202028"/>
                  <a:gd name="connsiteX4" fmla="*/ 4642952 w 5254573"/>
                  <a:gd name="connsiteY4" fmla="*/ 2111548 h 5202028"/>
                  <a:gd name="connsiteX5" fmla="*/ 2561557 w 5254573"/>
                  <a:gd name="connsiteY5" fmla="*/ 2404069 h 5202028"/>
                  <a:gd name="connsiteX6" fmla="*/ 2943959 w 5254573"/>
                  <a:gd name="connsiteY6" fmla="*/ 5125003 h 5202028"/>
                  <a:gd name="connsiteX7" fmla="*/ 2395897 w 5254573"/>
                  <a:gd name="connsiteY7" fmla="*/ 5202028 h 5202028"/>
                  <a:gd name="connsiteX8" fmla="*/ 5254573 w 5254573"/>
                  <a:gd name="connsiteY8" fmla="*/ 5202028 h 5202028"/>
                  <a:gd name="connsiteX9" fmla="*/ 5254573 w 5254573"/>
                  <a:gd name="connsiteY9" fmla="*/ 0 h 5202028"/>
                  <a:gd name="connsiteX10" fmla="*/ 2223687 w 5254573"/>
                  <a:gd name="connsiteY10" fmla="*/ 0 h 5202028"/>
                  <a:gd name="connsiteX11" fmla="*/ 2231289 w 5254573"/>
                  <a:gd name="connsiteY11" fmla="*/ 54089 h 5202028"/>
                  <a:gd name="connsiteX12" fmla="*/ 2616150 w 5254573"/>
                  <a:gd name="connsiteY12" fmla="*/ 0 h 5202028"/>
                  <a:gd name="connsiteX13" fmla="*/ 0 w 5254573"/>
                  <a:gd name="connsiteY13" fmla="*/ 0 h 5202028"/>
                  <a:gd name="connsiteX14" fmla="*/ 0 w 5254573"/>
                  <a:gd name="connsiteY14" fmla="*/ 160636 h 5202028"/>
                  <a:gd name="connsiteX15" fmla="*/ 1142985 w 5254573"/>
                  <a:gd name="connsiteY15" fmla="*/ 0 h 5202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254573" h="5202028">
                    <a:moveTo>
                      <a:pt x="0" y="3568962"/>
                    </a:moveTo>
                    <a:lnTo>
                      <a:pt x="0" y="5202028"/>
                    </a:lnTo>
                    <a:lnTo>
                      <a:pt x="229512" y="5202028"/>
                    </a:lnTo>
                    <a:close/>
                    <a:moveTo>
                      <a:pt x="4346193" y="0"/>
                    </a:moveTo>
                    <a:lnTo>
                      <a:pt x="4642952" y="2111548"/>
                    </a:lnTo>
                    <a:lnTo>
                      <a:pt x="2561557" y="2404069"/>
                    </a:lnTo>
                    <a:lnTo>
                      <a:pt x="2943959" y="5125003"/>
                    </a:lnTo>
                    <a:lnTo>
                      <a:pt x="2395897" y="5202028"/>
                    </a:lnTo>
                    <a:lnTo>
                      <a:pt x="5254573" y="5202028"/>
                    </a:lnTo>
                    <a:lnTo>
                      <a:pt x="5254573" y="0"/>
                    </a:lnTo>
                    <a:close/>
                    <a:moveTo>
                      <a:pt x="2223687" y="0"/>
                    </a:moveTo>
                    <a:lnTo>
                      <a:pt x="2231289" y="54089"/>
                    </a:lnTo>
                    <a:lnTo>
                      <a:pt x="2616150" y="0"/>
                    </a:lnTo>
                    <a:close/>
                    <a:moveTo>
                      <a:pt x="0" y="0"/>
                    </a:moveTo>
                    <a:lnTo>
                      <a:pt x="0" y="160636"/>
                    </a:lnTo>
                    <a:lnTo>
                      <a:pt x="1142985" y="0"/>
                    </a:lnTo>
                    <a:close/>
                  </a:path>
                </a:pathLst>
              </a:custGeom>
              <a:blipFill>
                <a:blip r:embed="rId3">
                  <a:alphaModFix amt="9499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95E651F-153F-8B51-6354-3C7201D9009E}"/>
                  </a:ext>
                </a:extLst>
              </p:cNvPr>
              <p:cNvSpPr/>
              <p:nvPr/>
            </p:nvSpPr>
            <p:spPr>
              <a:xfrm rot="481247">
                <a:off x="-2585304" y="6483607"/>
                <a:ext cx="5254573" cy="5202029"/>
              </a:xfrm>
              <a:custGeom>
                <a:avLst/>
                <a:gdLst>
                  <a:gd name="connsiteX0" fmla="*/ 0 w 5254573"/>
                  <a:gd name="connsiteY0" fmla="*/ 3598256 h 5202029"/>
                  <a:gd name="connsiteX1" fmla="*/ 152897 w 5254573"/>
                  <a:gd name="connsiteY1" fmla="*/ 4683318 h 5202029"/>
                  <a:gd name="connsiteX2" fmla="*/ 756534 w 5254573"/>
                  <a:gd name="connsiteY2" fmla="*/ 4598259 h 5202029"/>
                  <a:gd name="connsiteX3" fmla="*/ 841611 w 5254573"/>
                  <a:gd name="connsiteY3" fmla="*/ 5202029 h 5202029"/>
                  <a:gd name="connsiteX4" fmla="*/ 0 w 5254573"/>
                  <a:gd name="connsiteY4" fmla="*/ 5202029 h 5202029"/>
                  <a:gd name="connsiteX5" fmla="*/ 2218378 w 5254573"/>
                  <a:gd name="connsiteY5" fmla="*/ 0 h 5202029"/>
                  <a:gd name="connsiteX6" fmla="*/ 5254573 w 5254573"/>
                  <a:gd name="connsiteY6" fmla="*/ 0 h 5202029"/>
                  <a:gd name="connsiteX7" fmla="*/ 5254573 w 5254573"/>
                  <a:gd name="connsiteY7" fmla="*/ 5202029 h 5202029"/>
                  <a:gd name="connsiteX8" fmla="*/ 3799119 w 5254573"/>
                  <a:gd name="connsiteY8" fmla="*/ 5202029 h 5202029"/>
                  <a:gd name="connsiteX9" fmla="*/ 4973739 w 5254573"/>
                  <a:gd name="connsiteY9" fmla="*/ 5036512 h 5202029"/>
                  <a:gd name="connsiteX10" fmla="*/ 4816025 w 5254573"/>
                  <a:gd name="connsiteY10" fmla="*/ 3917269 h 5202029"/>
                  <a:gd name="connsiteX11" fmla="*/ 2810191 w 5254573"/>
                  <a:gd name="connsiteY11" fmla="*/ 4199913 h 5202029"/>
                  <a:gd name="connsiteX12" fmla="*/ 0 w 5254573"/>
                  <a:gd name="connsiteY12" fmla="*/ 0 h 5202029"/>
                  <a:gd name="connsiteX13" fmla="*/ 1942490 w 5254573"/>
                  <a:gd name="connsiteY13" fmla="*/ 0 h 5202029"/>
                  <a:gd name="connsiteX14" fmla="*/ 0 w 5254573"/>
                  <a:gd name="connsiteY14" fmla="*/ 273718 h 5202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54573" h="5202029">
                    <a:moveTo>
                      <a:pt x="0" y="3598256"/>
                    </a:moveTo>
                    <a:lnTo>
                      <a:pt x="152897" y="4683318"/>
                    </a:lnTo>
                    <a:lnTo>
                      <a:pt x="756534" y="4598259"/>
                    </a:lnTo>
                    <a:lnTo>
                      <a:pt x="841611" y="5202029"/>
                    </a:lnTo>
                    <a:lnTo>
                      <a:pt x="0" y="5202029"/>
                    </a:lnTo>
                    <a:close/>
                    <a:moveTo>
                      <a:pt x="2218378" y="0"/>
                    </a:moveTo>
                    <a:lnTo>
                      <a:pt x="5254573" y="0"/>
                    </a:lnTo>
                    <a:lnTo>
                      <a:pt x="5254573" y="5202029"/>
                    </a:lnTo>
                    <a:lnTo>
                      <a:pt x="3799119" y="5202029"/>
                    </a:lnTo>
                    <a:lnTo>
                      <a:pt x="4973739" y="5036512"/>
                    </a:lnTo>
                    <a:lnTo>
                      <a:pt x="4816025" y="3917269"/>
                    </a:lnTo>
                    <a:lnTo>
                      <a:pt x="2810191" y="4199913"/>
                    </a:lnTo>
                    <a:close/>
                    <a:moveTo>
                      <a:pt x="0" y="0"/>
                    </a:moveTo>
                    <a:lnTo>
                      <a:pt x="1942490" y="0"/>
                    </a:lnTo>
                    <a:lnTo>
                      <a:pt x="0" y="273718"/>
                    </a:lnTo>
                    <a:close/>
                  </a:path>
                </a:pathLst>
              </a:custGeom>
              <a:blipFill>
                <a:blip r:embed="rId3">
                  <a:alphaModFix amt="9499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919678BB-6961-8384-873F-C59F7DE3D6C7}"/>
                  </a:ext>
                </a:extLst>
              </p:cNvPr>
              <p:cNvSpPr/>
              <p:nvPr/>
            </p:nvSpPr>
            <p:spPr>
              <a:xfrm rot="21120000" flipH="1">
                <a:off x="4891533" y="6483607"/>
                <a:ext cx="5254573" cy="5202029"/>
              </a:xfrm>
              <a:custGeom>
                <a:avLst/>
                <a:gdLst>
                  <a:gd name="connsiteX0" fmla="*/ 2843069 w 5254573"/>
                  <a:gd name="connsiteY0" fmla="*/ 5182787 h 5202029"/>
                  <a:gd name="connsiteX1" fmla="*/ 2706159 w 5254573"/>
                  <a:gd name="connsiteY1" fmla="*/ 5202029 h 5202029"/>
                  <a:gd name="connsiteX2" fmla="*/ 2845774 w 5254573"/>
                  <a:gd name="connsiteY2" fmla="*/ 5202029 h 5202029"/>
                  <a:gd name="connsiteX3" fmla="*/ 0 w 5254573"/>
                  <a:gd name="connsiteY3" fmla="*/ 3568963 h 5202029"/>
                  <a:gd name="connsiteX4" fmla="*/ 0 w 5254573"/>
                  <a:gd name="connsiteY4" fmla="*/ 5202029 h 5202029"/>
                  <a:gd name="connsiteX5" fmla="*/ 229512 w 5254573"/>
                  <a:gd name="connsiteY5" fmla="*/ 5202029 h 5202029"/>
                  <a:gd name="connsiteX6" fmla="*/ 2215967 w 5254573"/>
                  <a:gd name="connsiteY6" fmla="*/ 0 h 5202029"/>
                  <a:gd name="connsiteX7" fmla="*/ 2806301 w 5254573"/>
                  <a:gd name="connsiteY7" fmla="*/ 4200445 h 5202029"/>
                  <a:gd name="connsiteX8" fmla="*/ 4895266 w 5254573"/>
                  <a:gd name="connsiteY8" fmla="*/ 3906860 h 5202029"/>
                  <a:gd name="connsiteX9" fmla="*/ 5052574 w 5254573"/>
                  <a:gd name="connsiteY9" fmla="*/ 5026160 h 5202029"/>
                  <a:gd name="connsiteX10" fmla="*/ 3801197 w 5254573"/>
                  <a:gd name="connsiteY10" fmla="*/ 5202029 h 5202029"/>
                  <a:gd name="connsiteX11" fmla="*/ 5254573 w 5254573"/>
                  <a:gd name="connsiteY11" fmla="*/ 5202029 h 5202029"/>
                  <a:gd name="connsiteX12" fmla="*/ 5254573 w 5254573"/>
                  <a:gd name="connsiteY12" fmla="*/ 0 h 5202029"/>
                  <a:gd name="connsiteX13" fmla="*/ 0 w 5254573"/>
                  <a:gd name="connsiteY13" fmla="*/ 0 h 5202029"/>
                  <a:gd name="connsiteX14" fmla="*/ 0 w 5254573"/>
                  <a:gd name="connsiteY14" fmla="*/ 272882 h 5202029"/>
                  <a:gd name="connsiteX15" fmla="*/ 1941658 w 5254573"/>
                  <a:gd name="connsiteY15" fmla="*/ 0 h 5202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254573" h="5202029">
                    <a:moveTo>
                      <a:pt x="2843069" y="5182787"/>
                    </a:moveTo>
                    <a:lnTo>
                      <a:pt x="2706159" y="5202029"/>
                    </a:lnTo>
                    <a:lnTo>
                      <a:pt x="2845774" y="5202029"/>
                    </a:lnTo>
                    <a:close/>
                    <a:moveTo>
                      <a:pt x="0" y="3568963"/>
                    </a:moveTo>
                    <a:lnTo>
                      <a:pt x="0" y="5202029"/>
                    </a:lnTo>
                    <a:lnTo>
                      <a:pt x="229512" y="5202029"/>
                    </a:lnTo>
                    <a:close/>
                    <a:moveTo>
                      <a:pt x="2215967" y="0"/>
                    </a:moveTo>
                    <a:lnTo>
                      <a:pt x="2806301" y="4200445"/>
                    </a:lnTo>
                    <a:lnTo>
                      <a:pt x="4895266" y="3906860"/>
                    </a:lnTo>
                    <a:lnTo>
                      <a:pt x="5052574" y="5026160"/>
                    </a:lnTo>
                    <a:lnTo>
                      <a:pt x="3801197" y="5202029"/>
                    </a:lnTo>
                    <a:lnTo>
                      <a:pt x="5254573" y="5202029"/>
                    </a:lnTo>
                    <a:lnTo>
                      <a:pt x="5254573" y="0"/>
                    </a:lnTo>
                    <a:close/>
                    <a:moveTo>
                      <a:pt x="0" y="0"/>
                    </a:moveTo>
                    <a:lnTo>
                      <a:pt x="0" y="272882"/>
                    </a:lnTo>
                    <a:lnTo>
                      <a:pt x="1941658" y="0"/>
                    </a:lnTo>
                    <a:close/>
                  </a:path>
                </a:pathLst>
              </a:custGeom>
              <a:blipFill>
                <a:blip r:embed="rId3">
                  <a:alphaModFix amt="9499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06071A97-93D8-B5A9-1863-505EE4DE100B}"/>
                </a:ext>
              </a:extLst>
            </p:cNvPr>
            <p:cNvGrpSpPr/>
            <p:nvPr/>
          </p:nvGrpSpPr>
          <p:grpSpPr>
            <a:xfrm>
              <a:off x="0" y="329834"/>
              <a:ext cx="7560000" cy="2538000"/>
              <a:chOff x="0" y="329834"/>
              <a:chExt cx="7560000" cy="2538000"/>
            </a:xfrm>
          </p:grpSpPr>
          <p:sp>
            <p:nvSpPr>
              <p:cNvPr id="3" name="TextBox 3"/>
              <p:cNvSpPr txBox="1"/>
              <p:nvPr/>
            </p:nvSpPr>
            <p:spPr>
              <a:xfrm>
                <a:off x="0" y="546100"/>
                <a:ext cx="7560000" cy="133113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8650" dirty="0">
                    <a:solidFill>
                      <a:srgbClr val="FFE5A8"/>
                    </a:solidFill>
                    <a:latin typeface="Butcherman"/>
                    <a:ea typeface="Butcherman"/>
                    <a:cs typeface="Butcherman"/>
                    <a:sym typeface="Butcherman"/>
                  </a:rPr>
                  <a:t>HALLOWEEN</a:t>
                </a:r>
              </a:p>
            </p:txBody>
          </p:sp>
          <p:sp>
            <p:nvSpPr>
              <p:cNvPr id="38" name="TextBox 3">
                <a:extLst>
                  <a:ext uri="{FF2B5EF4-FFF2-40B4-BE49-F238E27FC236}">
                    <a16:creationId xmlns:a16="http://schemas.microsoft.com/office/drawing/2014/main" id="{6733B46B-F4AF-0A0E-4F0A-730BC79C3365}"/>
                  </a:ext>
                </a:extLst>
              </p:cNvPr>
              <p:cNvSpPr txBox="1"/>
              <p:nvPr/>
            </p:nvSpPr>
            <p:spPr>
              <a:xfrm>
                <a:off x="0" y="1536700"/>
                <a:ext cx="7560000" cy="133113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8650" dirty="0">
                    <a:solidFill>
                      <a:srgbClr val="FFE5A8"/>
                    </a:solidFill>
                    <a:latin typeface="Butcherman"/>
                    <a:ea typeface="Butcherman"/>
                    <a:cs typeface="Butcherman"/>
                    <a:sym typeface="Butcherman"/>
                  </a:rPr>
                  <a:t>POTLUCK</a:t>
                </a:r>
              </a:p>
            </p:txBody>
          </p:sp>
          <p:sp>
            <p:nvSpPr>
              <p:cNvPr id="4" name="TextBox 4"/>
              <p:cNvSpPr txBox="1"/>
              <p:nvPr/>
            </p:nvSpPr>
            <p:spPr>
              <a:xfrm>
                <a:off x="2638919" y="329834"/>
                <a:ext cx="2384705" cy="14619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spcBef>
                    <a:spcPct val="0"/>
                  </a:spcBef>
                </a:pPr>
                <a:r>
                  <a:rPr lang="en-US" sz="950" spc="194" dirty="0">
                    <a:solidFill>
                      <a:srgbClr val="FEBD25"/>
                    </a:solidFill>
                    <a:latin typeface="Mansalva"/>
                    <a:ea typeface="Mansalva"/>
                    <a:cs typeface="Mansalva"/>
                    <a:sym typeface="Mansalva"/>
                  </a:rPr>
                  <a:t>SIGN UP SHEET</a:t>
                </a:r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0ED2C6B7-2985-DD5F-E320-3E58E22B14D2}"/>
                </a:ext>
              </a:extLst>
            </p:cNvPr>
            <p:cNvGrpSpPr/>
            <p:nvPr/>
          </p:nvGrpSpPr>
          <p:grpSpPr>
            <a:xfrm>
              <a:off x="871323" y="1549969"/>
              <a:ext cx="5784926" cy="519411"/>
              <a:chOff x="871323" y="1549969"/>
              <a:chExt cx="5784926" cy="519411"/>
            </a:xfrm>
          </p:grpSpPr>
          <p:sp>
            <p:nvSpPr>
              <p:cNvPr id="11" name="Freeform 11"/>
              <p:cNvSpPr/>
              <p:nvPr/>
            </p:nvSpPr>
            <p:spPr>
              <a:xfrm rot="2232276">
                <a:off x="5276171" y="1549969"/>
                <a:ext cx="1380078" cy="519411"/>
              </a:xfrm>
              <a:custGeom>
                <a:avLst/>
                <a:gdLst/>
                <a:ahLst/>
                <a:cxnLst/>
                <a:rect l="l" t="t" r="r" b="b"/>
                <a:pathLst>
                  <a:path w="1380078" h="519411">
                    <a:moveTo>
                      <a:pt x="0" y="0"/>
                    </a:moveTo>
                    <a:lnTo>
                      <a:pt x="1380078" y="0"/>
                    </a:lnTo>
                    <a:lnTo>
                      <a:pt x="1380078" y="519411"/>
                    </a:lnTo>
                    <a:lnTo>
                      <a:pt x="0" y="51941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" name="Freeform 12"/>
              <p:cNvSpPr/>
              <p:nvPr/>
            </p:nvSpPr>
            <p:spPr>
              <a:xfrm rot="-2174569">
                <a:off x="871323" y="1549969"/>
                <a:ext cx="1380078" cy="519411"/>
              </a:xfrm>
              <a:custGeom>
                <a:avLst/>
                <a:gdLst/>
                <a:ahLst/>
                <a:cxnLst/>
                <a:rect l="l" t="t" r="r" b="b"/>
                <a:pathLst>
                  <a:path w="1380078" h="519411">
                    <a:moveTo>
                      <a:pt x="0" y="0"/>
                    </a:moveTo>
                    <a:lnTo>
                      <a:pt x="1380078" y="0"/>
                    </a:lnTo>
                    <a:lnTo>
                      <a:pt x="1380078" y="519411"/>
                    </a:lnTo>
                    <a:lnTo>
                      <a:pt x="0" y="51941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14" name="Gradient Mask"/>
            <p:cNvSpPr/>
            <p:nvPr/>
          </p:nvSpPr>
          <p:spPr>
            <a:xfrm>
              <a:off x="279825" y="1608620"/>
              <a:ext cx="6996850" cy="1312947"/>
            </a:xfrm>
            <a:custGeom>
              <a:avLst/>
              <a:gdLst/>
              <a:ahLst/>
              <a:cxnLst/>
              <a:rect l="l" t="t" r="r" b="b"/>
              <a:pathLst>
                <a:path w="2507513" h="470531">
                  <a:moveTo>
                    <a:pt x="0" y="0"/>
                  </a:moveTo>
                  <a:lnTo>
                    <a:pt x="2507513" y="0"/>
                  </a:lnTo>
                  <a:lnTo>
                    <a:pt x="2507513" y="470531"/>
                  </a:lnTo>
                  <a:lnTo>
                    <a:pt x="0" y="470531"/>
                  </a:lnTo>
                  <a:close/>
                </a:path>
              </a:pathLst>
            </a:custGeom>
            <a:gradFill rotWithShape="1">
              <a:gsLst>
                <a:gs pos="0">
                  <a:srgbClr val="440934">
                    <a:alpha val="0"/>
                  </a:srgbClr>
                </a:gs>
                <a:gs pos="100000">
                  <a:srgbClr val="440934">
                    <a:alpha val="100000"/>
                  </a:srgbClr>
                </a:gs>
              </a:gsLst>
              <a:lin ang="5400000"/>
            </a:gradFill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26497164-6E68-9D87-804D-CD7D1E7B9B1E}"/>
                </a:ext>
              </a:extLst>
            </p:cNvPr>
            <p:cNvGrpSpPr/>
            <p:nvPr/>
          </p:nvGrpSpPr>
          <p:grpSpPr>
            <a:xfrm>
              <a:off x="267636" y="10315836"/>
              <a:ext cx="6996850" cy="125547"/>
              <a:chOff x="267636" y="10315836"/>
              <a:chExt cx="6996850" cy="125547"/>
            </a:xfrm>
          </p:grpSpPr>
          <p:sp>
            <p:nvSpPr>
              <p:cNvPr id="24" name="TextBox 24"/>
              <p:cNvSpPr txBox="1"/>
              <p:nvPr/>
            </p:nvSpPr>
            <p:spPr>
              <a:xfrm>
                <a:off x="267636" y="10315836"/>
                <a:ext cx="1837680" cy="125547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marL="0" lvl="0" indent="0" algn="l"/>
                <a:r>
                  <a:rPr lang="en-US" sz="816" spc="81" dirty="0">
                    <a:solidFill>
                      <a:srgbClr val="FFE5A8">
                        <a:alpha val="69804"/>
                      </a:srgbClr>
                    </a:solidFill>
                    <a:latin typeface="Mansalva"/>
                    <a:ea typeface="Mansalva"/>
                    <a:cs typeface="Mansalva"/>
                    <a:sym typeface="Mansalva"/>
                  </a:rPr>
                  <a:t>START AT 6:00 | 31 OCT 2030</a:t>
                </a:r>
              </a:p>
            </p:txBody>
          </p:sp>
          <p:sp>
            <p:nvSpPr>
              <p:cNvPr id="25" name="TextBox 25"/>
              <p:cNvSpPr txBox="1"/>
              <p:nvPr/>
            </p:nvSpPr>
            <p:spPr>
              <a:xfrm>
                <a:off x="3397250" y="10315836"/>
                <a:ext cx="3867236" cy="125547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marL="0" lvl="0" indent="0" algn="r"/>
                <a:r>
                  <a:rPr lang="en-US" sz="816" spc="81" dirty="0">
                    <a:solidFill>
                      <a:srgbClr val="FFE5A8">
                        <a:alpha val="69804"/>
                      </a:srgbClr>
                    </a:solidFill>
                    <a:latin typeface="Mansalva"/>
                    <a:ea typeface="Mansalva"/>
                    <a:cs typeface="Mansalva"/>
                    <a:sym typeface="Mansalva"/>
                  </a:rPr>
                  <a:t> SPOOKY HOLLOW MANSION | 123 ANYWHERE ST., ANY CITY</a:t>
                </a: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1CC9FB55-DBFF-81AE-DDE6-0A5368E6E187}"/>
                </a:ext>
              </a:extLst>
            </p:cNvPr>
            <p:cNvGrpSpPr/>
            <p:nvPr/>
          </p:nvGrpSpPr>
          <p:grpSpPr>
            <a:xfrm>
              <a:off x="267636" y="2101003"/>
              <a:ext cx="6996851" cy="4583906"/>
              <a:chOff x="267636" y="2101003"/>
              <a:chExt cx="6996851" cy="4583906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5173513" y="3146338"/>
                <a:ext cx="2090974" cy="3538571"/>
              </a:xfrm>
              <a:custGeom>
                <a:avLst/>
                <a:gdLst/>
                <a:ahLst/>
                <a:cxnLst/>
                <a:rect l="l" t="t" r="r" b="b"/>
                <a:pathLst>
                  <a:path w="2787965" h="4718094">
                    <a:moveTo>
                      <a:pt x="0" y="0"/>
                    </a:moveTo>
                    <a:lnTo>
                      <a:pt x="2787964" y="0"/>
                    </a:lnTo>
                    <a:lnTo>
                      <a:pt x="2787964" y="4718094"/>
                    </a:lnTo>
                    <a:lnTo>
                      <a:pt x="0" y="4718094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alphaModFix amt="90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" name="Freeform 18"/>
              <p:cNvSpPr/>
              <p:nvPr/>
            </p:nvSpPr>
            <p:spPr>
              <a:xfrm>
                <a:off x="267636" y="2710242"/>
                <a:ext cx="1669424" cy="2278370"/>
              </a:xfrm>
              <a:custGeom>
                <a:avLst/>
                <a:gdLst/>
                <a:ahLst/>
                <a:cxnLst/>
                <a:rect l="l" t="t" r="r" b="b"/>
                <a:pathLst>
                  <a:path w="2225898" h="3037827">
                    <a:moveTo>
                      <a:pt x="0" y="0"/>
                    </a:moveTo>
                    <a:lnTo>
                      <a:pt x="2225898" y="0"/>
                    </a:lnTo>
                    <a:lnTo>
                      <a:pt x="2225898" y="3037827"/>
                    </a:lnTo>
                    <a:lnTo>
                      <a:pt x="0" y="303782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9">
                  <a:alphaModFix amt="90000"/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" name="Freeform 19"/>
              <p:cNvSpPr/>
              <p:nvPr/>
            </p:nvSpPr>
            <p:spPr>
              <a:xfrm>
                <a:off x="1414006" y="3739715"/>
                <a:ext cx="1313776" cy="1584599"/>
              </a:xfrm>
              <a:custGeom>
                <a:avLst/>
                <a:gdLst/>
                <a:ahLst/>
                <a:cxnLst/>
                <a:rect l="l" t="t" r="r" b="b"/>
                <a:pathLst>
                  <a:path w="1751701" h="2112798">
                    <a:moveTo>
                      <a:pt x="0" y="0"/>
                    </a:moveTo>
                    <a:lnTo>
                      <a:pt x="1751701" y="0"/>
                    </a:lnTo>
                    <a:lnTo>
                      <a:pt x="1751701" y="2112797"/>
                    </a:lnTo>
                    <a:lnTo>
                      <a:pt x="0" y="211279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>
                  <a:alphaModFix amt="90000"/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0" name="Freeform 20"/>
              <p:cNvSpPr/>
              <p:nvPr/>
            </p:nvSpPr>
            <p:spPr>
              <a:xfrm>
                <a:off x="5010813" y="3739715"/>
                <a:ext cx="1313776" cy="1584599"/>
              </a:xfrm>
              <a:custGeom>
                <a:avLst/>
                <a:gdLst/>
                <a:ahLst/>
                <a:cxnLst/>
                <a:rect l="l" t="t" r="r" b="b"/>
                <a:pathLst>
                  <a:path w="1751701" h="2112798">
                    <a:moveTo>
                      <a:pt x="0" y="0"/>
                    </a:moveTo>
                    <a:lnTo>
                      <a:pt x="1751701" y="0"/>
                    </a:lnTo>
                    <a:lnTo>
                      <a:pt x="1751701" y="2112797"/>
                    </a:lnTo>
                    <a:lnTo>
                      <a:pt x="0" y="211279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>
                  <a:alphaModFix amt="90000"/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1" name="Freeform 21"/>
              <p:cNvSpPr/>
              <p:nvPr/>
            </p:nvSpPr>
            <p:spPr>
              <a:xfrm>
                <a:off x="1845185" y="2101003"/>
                <a:ext cx="3869629" cy="3785201"/>
              </a:xfrm>
              <a:custGeom>
                <a:avLst/>
                <a:gdLst/>
                <a:ahLst/>
                <a:cxnLst/>
                <a:rect l="l" t="t" r="r" b="b"/>
                <a:pathLst>
                  <a:path w="5159505" h="5046934">
                    <a:moveTo>
                      <a:pt x="0" y="0"/>
                    </a:moveTo>
                    <a:lnTo>
                      <a:pt x="5159506" y="0"/>
                    </a:lnTo>
                    <a:lnTo>
                      <a:pt x="5159506" y="5046934"/>
                    </a:lnTo>
                    <a:lnTo>
                      <a:pt x="0" y="5046934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3">
                  <a:alphaModFix amt="90000"/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23" name="QuickSignup"/>
            <p:cNvSpPr/>
            <p:nvPr/>
          </p:nvSpPr>
          <p:spPr>
            <a:xfrm>
              <a:off x="2397330" y="10298467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3" y="0"/>
                  </a:lnTo>
                  <a:lnTo>
                    <a:pt x="660903" y="133214"/>
                  </a:lnTo>
                  <a:lnTo>
                    <a:pt x="0" y="13321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5">
                <a:alphaModFix amt="70000"/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  <p:graphicFrame>
        <p:nvGraphicFramePr>
          <p:cNvPr id="22" name="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773335"/>
              </p:ext>
            </p:extLst>
          </p:nvPr>
        </p:nvGraphicFramePr>
        <p:xfrm>
          <a:off x="279826" y="4984184"/>
          <a:ext cx="6996849" cy="5239320"/>
        </p:xfrm>
        <a:graphic>
          <a:graphicData uri="http://schemas.openxmlformats.org/drawingml/2006/table">
            <a:tbl>
              <a:tblPr/>
              <a:tblGrid>
                <a:gridCol w="23322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322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32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36610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12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800" spc="-16" dirty="0">
                          <a:solidFill>
                            <a:srgbClr val="440934"/>
                          </a:solidFill>
                          <a:latin typeface="Lacquer"/>
                          <a:ea typeface="Lacquer"/>
                          <a:cs typeface="Lacquer"/>
                          <a:sym typeface="Lacquer"/>
                        </a:rPr>
                        <a:t>Full Name</a:t>
                      </a:r>
                      <a:endParaRPr lang="en-US" sz="1100" dirty="0"/>
                    </a:p>
                  </a:txBody>
                  <a:tcPr marL="0" marR="0" marT="0" marB="0" anchor="ctr">
                    <a:lnL w="6155" cap="flat" cmpd="sng" algn="ctr">
                      <a:solidFill>
                        <a:srgbClr val="FEBD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5" cap="flat" cmpd="sng" algn="ctr">
                      <a:solidFill>
                        <a:srgbClr val="FEBD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FEBD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5" cap="flat" cmpd="sng" algn="ctr">
                      <a:solidFill>
                        <a:srgbClr val="FEBD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D25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ts val="112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800" spc="-16" dirty="0">
                          <a:solidFill>
                            <a:srgbClr val="440934"/>
                          </a:solidFill>
                          <a:latin typeface="Lacquer"/>
                          <a:ea typeface="Lacquer"/>
                          <a:cs typeface="Lacquer"/>
                          <a:sym typeface="Lacquer"/>
                        </a:rPr>
                        <a:t>Phone</a:t>
                      </a:r>
                      <a:endParaRPr lang="en-US" sz="1100" dirty="0"/>
                    </a:p>
                  </a:txBody>
                  <a:tcPr marL="0" marR="0" marT="0" marB="0" anchor="ctr">
                    <a:lnL w="6155" cap="flat" cmpd="sng" algn="ctr">
                      <a:solidFill>
                        <a:srgbClr val="FEBD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5" cap="flat" cmpd="sng" algn="ctr">
                      <a:solidFill>
                        <a:srgbClr val="FEBD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FEBD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5" cap="flat" cmpd="sng" algn="ctr">
                      <a:solidFill>
                        <a:srgbClr val="FEBD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D2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20"/>
                        </a:lnSpc>
                        <a:spcBef>
                          <a:spcPct val="0"/>
                        </a:spcBef>
                        <a:defRPr/>
                      </a:pPr>
                      <a:r>
                        <a:rPr lang="en-US" sz="800" spc="-16" dirty="0">
                          <a:solidFill>
                            <a:srgbClr val="440934"/>
                          </a:solidFill>
                          <a:latin typeface="Lacquer"/>
                          <a:ea typeface="Lacquer"/>
                          <a:cs typeface="Lacquer"/>
                          <a:sym typeface="Lacquer"/>
                        </a:rPr>
                        <a:t>WILL BRING</a:t>
                      </a:r>
                      <a:endParaRPr lang="en-US" sz="1100" dirty="0"/>
                    </a:p>
                  </a:txBody>
                  <a:tcPr marL="0" marR="0" marT="0" marB="0" anchor="ctr">
                    <a:lnL w="6155" cap="flat" cmpd="sng" algn="ctr">
                      <a:solidFill>
                        <a:srgbClr val="FEBD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155" cap="flat" cmpd="sng" algn="ctr">
                      <a:solidFill>
                        <a:srgbClr val="FEBD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FEBD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155" cap="flat" cmpd="sng" algn="ctr">
                      <a:solidFill>
                        <a:srgbClr val="FEBD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D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6610"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FEBD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FEBD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73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155" cap="flat" cmpd="sng" algn="ctr">
                      <a:solidFill>
                        <a:srgbClr val="FEBD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6610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6610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6610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6610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6610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6610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6610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6610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6610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36610"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69"/>
                        </a:lnSpc>
                        <a:defRPr/>
                      </a:pPr>
                      <a:endParaRPr lang="en-US" sz="800" dirty="0">
                        <a:solidFill>
                          <a:srgbClr val="440934"/>
                        </a:solidFill>
                        <a:latin typeface="Mansalva" pitchFamily="2" charset="0"/>
                      </a:endParaRPr>
                    </a:p>
                  </a:txBody>
                  <a:tcPr marL="0" marR="0" marT="0" marB="0" anchor="ctr">
                    <a:lnL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78" cap="flat" cmpd="sng" algn="ctr">
                      <a:solidFill>
                        <a:srgbClr val="AB98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5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3</TotalTime>
  <Words>28</Words>
  <Application>Microsoft Office PowerPoint</Application>
  <PresentationFormat>Custom</PresentationFormat>
  <Paragraphs>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ansalva</vt:lpstr>
      <vt:lpstr>Arial</vt:lpstr>
      <vt:lpstr>Lacquer</vt:lpstr>
      <vt:lpstr>Calibri</vt:lpstr>
      <vt:lpstr>Butcherman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(Portrait)</dc:title>
  <dc:creator>Hoang Anh</dc:creator>
  <cp:lastModifiedBy>Anh Hoang</cp:lastModifiedBy>
  <cp:revision>48</cp:revision>
  <dcterms:created xsi:type="dcterms:W3CDTF">2006-08-16T00:00:00Z</dcterms:created>
  <dcterms:modified xsi:type="dcterms:W3CDTF">2024-09-28T02:15:31Z</dcterms:modified>
  <dc:identifier>DAGR7N8ueBI</dc:identifier>
</cp:coreProperties>
</file>